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62" d="100"/>
          <a:sy n="62" d="100"/>
        </p:scale>
        <p:origin x="736" y="3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0/4/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0/4/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5091852" y="856993"/>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Price Sensitivity is not the main driving force behind customer churn </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preliminary analysis of the data did not show a strong relationship between churn and price changes</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Our predictive models did not find price changes to be a strong predictor of whether a customer will churn</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A price discount of 20% may not be effective in improving customer retention rates</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Based on our analysis, prices have not been the drivers of customer churn having less than 5% correlation with churn probabilities</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Further investigation into PowerCo’s customer attrition, focusing on factors beyond price sensitivity is required</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Various other factors, like the tenure of PowerCo’s association with its customer, past and forecasted consumption, etc. have been determined as the strongest predictors of churn probability</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9</TotalTime>
  <Words>137</Words>
  <Application>Microsoft Office PowerPoint</Application>
  <PresentationFormat>Widescreen</PresentationFormat>
  <Paragraphs>13</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Vedant Kedia</cp:lastModifiedBy>
  <cp:revision>449</cp:revision>
  <cp:lastPrinted>2016-04-06T18:59:25Z</cp:lastPrinted>
  <dcterms:created xsi:type="dcterms:W3CDTF">2016-11-04T11:46:04Z</dcterms:created>
  <dcterms:modified xsi:type="dcterms:W3CDTF">2023-10-04T17:14: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